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1718" r:id="rId5"/>
    <p:sldId id="1792" r:id="rId6"/>
    <p:sldId id="1793" r:id="rId7"/>
    <p:sldId id="1794" r:id="rId8"/>
    <p:sldId id="1795" r:id="rId9"/>
    <p:sldId id="1796" r:id="rId10"/>
    <p:sldId id="1797" r:id="rId11"/>
    <p:sldId id="1798" r:id="rId12"/>
    <p:sldId id="1807" r:id="rId13"/>
    <p:sldId id="1808" r:id="rId14"/>
    <p:sldId id="1809" r:id="rId15"/>
    <p:sldId id="1810" r:id="rId16"/>
    <p:sldId id="1811" r:id="rId17"/>
    <p:sldId id="1812" r:id="rId18"/>
    <p:sldId id="1813" r:id="rId19"/>
    <p:sldId id="1760" r:id="rId20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9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te Nielsen" initials="MN" lastIdx="28" clrIdx="0">
    <p:extLst>
      <p:ext uri="{19B8F6BF-5375-455C-9EA6-DF929625EA0E}">
        <p15:presenceInfo xmlns:p15="http://schemas.microsoft.com/office/powerpoint/2012/main" userId="S::meni@epinionglobal.com::83d51f75-acb3-4a5e-8c85-b0f3a33ade86" providerId="AD"/>
      </p:ext>
    </p:extLst>
  </p:cmAuthor>
  <p:cmAuthor id="2" name="Berit Didriksen" initials="BD" lastIdx="13" clrIdx="1">
    <p:extLst>
      <p:ext uri="{19B8F6BF-5375-455C-9EA6-DF929625EA0E}">
        <p15:presenceInfo xmlns:p15="http://schemas.microsoft.com/office/powerpoint/2012/main" userId="S::bedi@epinionglobal.com::f92beea0-158e-4c57-8619-7c9477b32cc1" providerId="AD"/>
      </p:ext>
    </p:extLst>
  </p:cmAuthor>
  <p:cmAuthor id="3" name="Anders Thomsen" initials="AT" lastIdx="1" clrIdx="2">
    <p:extLst>
      <p:ext uri="{19B8F6BF-5375-455C-9EA6-DF929625EA0E}">
        <p15:presenceInfo xmlns:p15="http://schemas.microsoft.com/office/powerpoint/2012/main" userId="S::anders.thomsen@nomorehours.com::4f1a3f9b-96e0-41a9-92a4-855bdcbae16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3C32"/>
    <a:srgbClr val="73A89A"/>
    <a:srgbClr val="004337"/>
    <a:srgbClr val="A7C7D7"/>
    <a:srgbClr val="BA7384"/>
    <a:srgbClr val="68838B"/>
    <a:srgbClr val="EBC882"/>
    <a:srgbClr val="233CA0"/>
    <a:srgbClr val="641E3C"/>
    <a:srgbClr val="E8E1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2" autoAdjust="0"/>
    <p:restoredTop sz="89936" autoAdjust="0"/>
  </p:normalViewPr>
  <p:slideViewPr>
    <p:cSldViewPr snapToGrid="0" showGuides="1">
      <p:cViewPr varScale="1">
        <p:scale>
          <a:sx n="114" d="100"/>
          <a:sy n="114" d="100"/>
        </p:scale>
        <p:origin x="528" y="102"/>
      </p:cViewPr>
      <p:guideLst>
        <p:guide orient="horz" pos="3294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77" d="100"/>
          <a:sy n="77" d="100"/>
        </p:scale>
        <p:origin x="241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e Smed" userId="87645ae3-4585-4050-842b-55a4c122027f" providerId="ADAL" clId="{2F463BB9-BFD5-4981-BFFA-8C12CE88DF12}"/>
    <pc:docChg chg="delSld">
      <pc:chgData name="Line Smed" userId="87645ae3-4585-4050-842b-55a4c122027f" providerId="ADAL" clId="{2F463BB9-BFD5-4981-BFFA-8C12CE88DF12}" dt="2024-06-10T08:21:08.006" v="9" actId="47"/>
      <pc:docMkLst>
        <pc:docMk/>
      </pc:docMkLst>
      <pc:sldChg chg="del">
        <pc:chgData name="Line Smed" userId="87645ae3-4585-4050-842b-55a4c122027f" providerId="ADAL" clId="{2F463BB9-BFD5-4981-BFFA-8C12CE88DF12}" dt="2024-06-10T08:21:08.006" v="9" actId="47"/>
        <pc:sldMkLst>
          <pc:docMk/>
          <pc:sldMk cId="3118051368" sldId="1791"/>
        </pc:sldMkLst>
      </pc:sldChg>
      <pc:sldChg chg="del">
        <pc:chgData name="Line Smed" userId="87645ae3-4585-4050-842b-55a4c122027f" providerId="ADAL" clId="{2F463BB9-BFD5-4981-BFFA-8C12CE88DF12}" dt="2024-06-10T07:44:22.823" v="1" actId="47"/>
        <pc:sldMkLst>
          <pc:docMk/>
          <pc:sldMk cId="3561731153" sldId="1799"/>
        </pc:sldMkLst>
      </pc:sldChg>
      <pc:sldChg chg="del">
        <pc:chgData name="Line Smed" userId="87645ae3-4585-4050-842b-55a4c122027f" providerId="ADAL" clId="{2F463BB9-BFD5-4981-BFFA-8C12CE88DF12}" dt="2024-06-10T07:45:01.172" v="2" actId="47"/>
        <pc:sldMkLst>
          <pc:docMk/>
          <pc:sldMk cId="1528362481" sldId="1800"/>
        </pc:sldMkLst>
      </pc:sldChg>
      <pc:sldChg chg="del">
        <pc:chgData name="Line Smed" userId="87645ae3-4585-4050-842b-55a4c122027f" providerId="ADAL" clId="{2F463BB9-BFD5-4981-BFFA-8C12CE88DF12}" dt="2024-06-10T07:45:01.195" v="3" actId="47"/>
        <pc:sldMkLst>
          <pc:docMk/>
          <pc:sldMk cId="3399073479" sldId="1801"/>
        </pc:sldMkLst>
      </pc:sldChg>
      <pc:sldChg chg="del">
        <pc:chgData name="Line Smed" userId="87645ae3-4585-4050-842b-55a4c122027f" providerId="ADAL" clId="{2F463BB9-BFD5-4981-BFFA-8C12CE88DF12}" dt="2024-06-10T07:45:54.500" v="8" actId="47"/>
        <pc:sldMkLst>
          <pc:docMk/>
          <pc:sldMk cId="3840082360" sldId="1802"/>
        </pc:sldMkLst>
      </pc:sldChg>
      <pc:sldChg chg="del">
        <pc:chgData name="Line Smed" userId="87645ae3-4585-4050-842b-55a4c122027f" providerId="ADAL" clId="{2F463BB9-BFD5-4981-BFFA-8C12CE88DF12}" dt="2024-06-10T07:45:14.550" v="4" actId="47"/>
        <pc:sldMkLst>
          <pc:docMk/>
          <pc:sldMk cId="2540572598" sldId="1803"/>
        </pc:sldMkLst>
      </pc:sldChg>
      <pc:sldChg chg="del">
        <pc:chgData name="Line Smed" userId="87645ae3-4585-4050-842b-55a4c122027f" providerId="ADAL" clId="{2F463BB9-BFD5-4981-BFFA-8C12CE88DF12}" dt="2024-06-10T07:45:34.647" v="5" actId="47"/>
        <pc:sldMkLst>
          <pc:docMk/>
          <pc:sldMk cId="93698331" sldId="1804"/>
        </pc:sldMkLst>
      </pc:sldChg>
      <pc:sldChg chg="del">
        <pc:chgData name="Line Smed" userId="87645ae3-4585-4050-842b-55a4c122027f" providerId="ADAL" clId="{2F463BB9-BFD5-4981-BFFA-8C12CE88DF12}" dt="2024-06-10T07:45:38.790" v="6" actId="47"/>
        <pc:sldMkLst>
          <pc:docMk/>
          <pc:sldMk cId="3155757722" sldId="1805"/>
        </pc:sldMkLst>
      </pc:sldChg>
      <pc:sldChg chg="del">
        <pc:chgData name="Line Smed" userId="87645ae3-4585-4050-842b-55a4c122027f" providerId="ADAL" clId="{2F463BB9-BFD5-4981-BFFA-8C12CE88DF12}" dt="2024-06-10T07:45:42.446" v="7" actId="47"/>
        <pc:sldMkLst>
          <pc:docMk/>
          <pc:sldMk cId="3705966418" sldId="1806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2139814349" sldId="1814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15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16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17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18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19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0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1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2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3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4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5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6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7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8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29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0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1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2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3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4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5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6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7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38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2139814349" sldId="1839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0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1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2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3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4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5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6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7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8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49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0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1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2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3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4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5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6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7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8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59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60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61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62"/>
        </pc:sldMkLst>
      </pc:sldChg>
      <pc:sldChg chg="del">
        <pc:chgData name="Line Smed" userId="87645ae3-4585-4050-842b-55a4c122027f" providerId="ADAL" clId="{2F463BB9-BFD5-4981-BFFA-8C12CE88DF12}" dt="2024-06-06T08:11:43.848" v="0" actId="47"/>
        <pc:sldMkLst>
          <pc:docMk/>
          <pc:sldMk cId="185617090" sldId="1863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or højt</c:v>
                </c:pt>
              </c:strCache>
            </c:strRef>
          </c:tx>
          <c:spPr>
            <a:solidFill>
              <a:srgbClr val="004337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ordan er... dit arbejdstempo i løbet af en typisk arbejdsdag?</c:v>
                </c:pt>
                <c:pt idx="1">
                  <c:v>Hvordan er... dine nærmeste kollegaers arbejdstempo i løbet af en typisk arbejdsdag?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3</c:v>
                </c:pt>
                <c:pt idx="1">
                  <c:v>0.22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ssende</c:v>
                </c:pt>
              </c:strCache>
            </c:strRef>
          </c:tx>
          <c:spPr>
            <a:solidFill>
              <a:srgbClr val="A7C7D7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ordan er... dit arbejdstempo i løbet af en typisk arbejdsdag?</c:v>
                </c:pt>
                <c:pt idx="1">
                  <c:v>Hvordan er... dine nærmeste kollegaers arbejdstempo i løbet af en typisk arbejdsdag?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73</c:v>
                </c:pt>
                <c:pt idx="1">
                  <c:v>0.64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or lavt</c:v>
                </c:pt>
              </c:strCache>
            </c:strRef>
          </c:tx>
          <c:spPr>
            <a:solidFill>
              <a:srgbClr val="C1802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ordan er... dit arbejdstempo i løbet af en typisk arbejdsdag?</c:v>
                </c:pt>
                <c:pt idx="1">
                  <c:v>Hvordan er... dine nærmeste kollegaers arbejdstempo i løbet af en typisk arbejdsdag?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04</c:v>
                </c:pt>
                <c:pt idx="1">
                  <c:v>0.08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d ikke</c:v>
                </c:pt>
              </c:strCache>
            </c:strRef>
          </c:tx>
          <c:spPr>
            <a:solidFill>
              <a:srgbClr val="E8E1D5"/>
            </a:solidFill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00F-484A-B0B4-5BECFF95A7E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ordan er... dit arbejdstempo i løbet af en typisk arbejdsdag?</c:v>
                </c:pt>
                <c:pt idx="1">
                  <c:v>Hvordan er... dine nærmeste kollegaers arbejdstempo i løbet af en typisk arbejdsdag?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01</c:v>
                </c:pt>
                <c:pt idx="1">
                  <c:v>0.05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90811008"/>
        <c:axId val="90829184"/>
      </c:barChart>
      <c:catAx>
        <c:axId val="90811008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90829184"/>
        <c:crosses val="autoZero"/>
        <c:auto val="1"/>
        <c:lblAlgn val="ctr"/>
        <c:lblOffset val="100"/>
        <c:noMultiLvlLbl val="0"/>
      </c:catAx>
      <c:valAx>
        <c:axId val="90829184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90811008"/>
        <c:crosses val="max"/>
        <c:crossBetween val="between"/>
        <c:majorUnit val="0.1"/>
      </c:valAx>
    </c:plotArea>
    <c:legend>
      <c:legendPos val="b"/>
      <c:overlay val="0"/>
      <c:txPr>
        <a:bodyPr/>
        <a:lstStyle/>
        <a:p>
          <a:pPr>
            <a:defRPr sz="1000" b="0" i="0" u="none">
              <a:solidFill>
                <a:srgbClr val="0F283C"/>
              </a:solidFill>
              <a:latin typeface="Arial"/>
              <a:ea typeface="Arial"/>
              <a:cs typeface="Arial"/>
            </a:defRPr>
          </a:pPr>
          <a:endParaRPr lang="da-DK"/>
        </a:p>
      </c:txPr>
    </c:legend>
    <c:plotVisOnly val="1"/>
    <c:dispBlanksAs val="gap"/>
    <c:showDLblsOverMax val="0"/>
  </c:chart>
  <c:spPr>
    <a:solidFill>
      <a:srgbClr val="FFFFFF"/>
    </a:solidFill>
    <a:effectLst/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Grundskole (folkeskole, privatskole, efterskole)</c:v>
                </c:pt>
                <c:pt idx="1">
                  <c:v>Gymnasie, HF, studenterkursus</c:v>
                </c:pt>
                <c:pt idx="2">
                  <c:v>Erhvervsgymnasium (HHX eller HTX)</c:v>
                </c:pt>
                <c:pt idx="3">
                  <c:v>Erhvervsfaglig (f.eks. tømrer, frisør, kontorassistent)</c:v>
                </c:pt>
                <c:pt idx="4">
                  <c:v>Kort videregående (f.eks. datamatiker, laborant)</c:v>
                </c:pt>
                <c:pt idx="5">
                  <c:v>Mellemlang videregående (f.eks. teknikumingeniør, lærer)</c:v>
                </c:pt>
                <c:pt idx="6">
                  <c:v>Bachelor (f.eks. 1. del af en lang videregående uddannelse)</c:v>
                </c:pt>
                <c:pt idx="7">
                  <c:v>Lang videregående (f.eks. gymnasielærer, økonom, jurist)</c:v>
                </c:pt>
                <c:pt idx="8">
                  <c:v>Ph.D. eller tilsvarende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08</c:v>
                </c:pt>
                <c:pt idx="1">
                  <c:v>0.08</c:v>
                </c:pt>
                <c:pt idx="2">
                  <c:v>0.04</c:v>
                </c:pt>
                <c:pt idx="3">
                  <c:v>0.39</c:v>
                </c:pt>
                <c:pt idx="4">
                  <c:v>0.06</c:v>
                </c:pt>
                <c:pt idx="5">
                  <c:v>0.14000000000000001</c:v>
                </c:pt>
                <c:pt idx="6">
                  <c:v>0.08</c:v>
                </c:pt>
                <c:pt idx="7">
                  <c:v>0.12</c:v>
                </c:pt>
                <c:pt idx="8">
                  <c:v>0.01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83B-4B1F-81F1-4B2B99CF170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83B-4B1F-81F1-4B2B99CF170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83B-4B1F-81F1-4B2B99CF1703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83B-4B1F-81F1-4B2B99CF1703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3B-4B1F-81F1-4B2B99CF1703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83B-4B1F-81F1-4B2B99CF1703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83B-4B1F-81F1-4B2B99CF1703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83B-4B1F-81F1-4B2B99CF170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13</c:f>
              <c:strCache>
                <c:ptCount val="12"/>
                <c:pt idx="0">
                  <c:v>I arbejde</c:v>
                </c:pt>
                <c:pt idx="1">
                  <c:v>I fleksjob</c:v>
                </c:pt>
                <c:pt idx="2">
                  <c:v>Ledig</c:v>
                </c:pt>
                <c:pt idx="3">
                  <c:v>På efterløn</c:v>
                </c:pt>
                <c:pt idx="4">
                  <c:v>Førtidspensionist</c:v>
                </c:pt>
                <c:pt idx="5">
                  <c:v>Pensionist</c:v>
                </c:pt>
                <c:pt idx="6">
                  <c:v>På barsel- eller forældreorlov</c:v>
                </c:pt>
                <c:pt idx="7">
                  <c:v>Selvstændig</c:v>
                </c:pt>
                <c:pt idx="8">
                  <c:v>Freelance</c:v>
                </c:pt>
                <c:pt idx="9">
                  <c:v>Andet</c:v>
                </c:pt>
                <c:pt idx="10">
                  <c:v>Studerende</c:v>
                </c:pt>
                <c:pt idx="11">
                  <c:v>Ønsker ikke at oplyse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91</c:v>
                </c:pt>
                <c:pt idx="1">
                  <c:v>7.0000000000000007E-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01</c:v>
                </c:pt>
                <c:pt idx="7">
                  <c:v>0</c:v>
                </c:pt>
                <c:pt idx="8">
                  <c:v>0.01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9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I det offentlige</c:v>
                </c:pt>
                <c:pt idx="1">
                  <c:v>I det private</c:v>
                </c:pt>
                <c:pt idx="2">
                  <c:v>Ved ikke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8</c:v>
                </c:pt>
                <c:pt idx="1">
                  <c:v>0.62</c:v>
                </c:pt>
                <c:pt idx="2">
                  <c:v>0.01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Nordjylland</c:v>
                </c:pt>
                <c:pt idx="1">
                  <c:v>Midtjylland</c:v>
                </c:pt>
                <c:pt idx="2">
                  <c:v>Syddanmark</c:v>
                </c:pt>
                <c:pt idx="3">
                  <c:v>Hovedstaden</c:v>
                </c:pt>
                <c:pt idx="4">
                  <c:v>Sjælland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</c:v>
                </c:pt>
                <c:pt idx="1">
                  <c:v>0.23</c:v>
                </c:pt>
                <c:pt idx="2">
                  <c:v>0.2</c:v>
                </c:pt>
                <c:pt idx="3">
                  <c:v>0.33</c:v>
                </c:pt>
                <c:pt idx="4">
                  <c:v>0.14000000000000001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I meget høj grad</c:v>
                </c:pt>
                <c:pt idx="1">
                  <c:v>I høj grad</c:v>
                </c:pt>
                <c:pt idx="2">
                  <c:v>I nogen grad</c:v>
                </c:pt>
                <c:pt idx="3">
                  <c:v>I mindre grad</c:v>
                </c:pt>
                <c:pt idx="4">
                  <c:v>Slet ikke</c:v>
                </c:pt>
                <c:pt idx="5">
                  <c:v>Ved ikk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1</c:v>
                </c:pt>
                <c:pt idx="1">
                  <c:v>0.31</c:v>
                </c:pt>
                <c:pt idx="2">
                  <c:v>0.36</c:v>
                </c:pt>
                <c:pt idx="3">
                  <c:v>0.16</c:v>
                </c:pt>
                <c:pt idx="4">
                  <c:v>0.04</c:v>
                </c:pt>
                <c:pt idx="5">
                  <c:v>0.03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I meget høj grad</c:v>
                </c:pt>
                <c:pt idx="1">
                  <c:v>I høj grad</c:v>
                </c:pt>
                <c:pt idx="2">
                  <c:v>I nogen grad</c:v>
                </c:pt>
                <c:pt idx="3">
                  <c:v>I mindre grad</c:v>
                </c:pt>
                <c:pt idx="4">
                  <c:v>Slet ikke</c:v>
                </c:pt>
                <c:pt idx="5">
                  <c:v>Ved ikk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05</c:v>
                </c:pt>
                <c:pt idx="1">
                  <c:v>0.2</c:v>
                </c:pt>
                <c:pt idx="2">
                  <c:v>0.35</c:v>
                </c:pt>
                <c:pt idx="3">
                  <c:v>0.26</c:v>
                </c:pt>
                <c:pt idx="4">
                  <c:v>0.08</c:v>
                </c:pt>
                <c:pt idx="5">
                  <c:v>0.06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Ja</c:v>
                </c:pt>
                <c:pt idx="1">
                  <c:v>Nej</c:v>
                </c:pt>
                <c:pt idx="2">
                  <c:v>Ved ikke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</c:v>
                </c:pt>
                <c:pt idx="1">
                  <c:v>0.35</c:v>
                </c:pt>
                <c:pt idx="2">
                  <c:v>0.35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a, helt sikkert</c:v>
                </c:pt>
              </c:strCache>
            </c:strRef>
          </c:tx>
          <c:spPr>
            <a:solidFill>
              <a:srgbClr val="004337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is en af dine kollegaer viser symptomer på stress, vil du så tage en snak med… kollegaen selv?</c:v>
                </c:pt>
                <c:pt idx="1">
                  <c:v>Hvis en af dine kollegaer viser symptomer på stress, vil du så tage en snak med… kollegaens nærmeste leder?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4</c:v>
                </c:pt>
                <c:pt idx="1">
                  <c:v>0.18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Ja, formentlig</c:v>
                </c:pt>
              </c:strCache>
            </c:strRef>
          </c:tx>
          <c:spPr>
            <a:solidFill>
              <a:srgbClr val="73A89A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is en af dine kollegaer viser symptomer på stress, vil du så tage en snak med… kollegaen selv?</c:v>
                </c:pt>
                <c:pt idx="1">
                  <c:v>Hvis en af dine kollegaer viser symptomer på stress, vil du så tage en snak med… kollegaens nærmeste leder?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47</c:v>
                </c:pt>
                <c:pt idx="1">
                  <c:v>0.39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j, formentlig ikke</c:v>
                </c:pt>
              </c:strCache>
            </c:strRef>
          </c:tx>
          <c:spPr>
            <a:solidFill>
              <a:srgbClr val="EBC882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is en af dine kollegaer viser symptomer på stress, vil du så tage en snak med… kollegaen selv?</c:v>
                </c:pt>
                <c:pt idx="1">
                  <c:v>Hvis en af dine kollegaer viser symptomer på stress, vil du så tage en snak med… kollegaens nærmeste leder?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11</c:v>
                </c:pt>
                <c:pt idx="1">
                  <c:v>0.27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ej, helt sikkert ikke</c:v>
                </c:pt>
              </c:strCache>
            </c:strRef>
          </c:tx>
          <c:spPr>
            <a:solidFill>
              <a:srgbClr val="C18022"/>
            </a:solidFill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442-4579-A29B-6D26F9ABA3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is en af dine kollegaer viser symptomer på stress, vil du så tage en snak med… kollegaen selv?</c:v>
                </c:pt>
                <c:pt idx="1">
                  <c:v>Hvis en af dine kollegaer viser symptomer på stress, vil du så tage en snak med… kollegaens nærmeste leder?</c:v>
                </c:pt>
              </c:strCache>
            </c:strRef>
          </c:cat>
          <c:val>
            <c:numRef>
              <c:f>Sheet1!$E$2:$E$3</c:f>
              <c:numCache>
                <c:formatCode>0%</c:formatCode>
                <c:ptCount val="2"/>
                <c:pt idx="0">
                  <c:v>0.01</c:v>
                </c:pt>
                <c:pt idx="1">
                  <c:v>0.05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Ved ikke</c:v>
                </c:pt>
              </c:strCache>
            </c:strRef>
          </c:tx>
          <c:spPr>
            <a:solidFill>
              <a:srgbClr val="E8E1D5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Hvis en af dine kollegaer viser symptomer på stress, vil du så tage en snak med… kollegaen selv?</c:v>
                </c:pt>
                <c:pt idx="1">
                  <c:v>Hvis en af dine kollegaer viser symptomer på stress, vil du så tage en snak med… kollegaens nærmeste leder?</c:v>
                </c:pt>
              </c:strCache>
            </c:strRef>
          </c:cat>
          <c:val>
            <c:numRef>
              <c:f>Sheet1!$F$2:$F$3</c:f>
              <c:numCache>
                <c:formatCode>0%</c:formatCode>
                <c:ptCount val="2"/>
                <c:pt idx="0">
                  <c:v>7.0000000000000007E-2</c:v>
                </c:pt>
                <c:pt idx="1">
                  <c:v>0.12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28CD-421C-B123-56983D5A888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90811008"/>
        <c:axId val="90829184"/>
      </c:barChart>
      <c:catAx>
        <c:axId val="90811008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low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90829184"/>
        <c:crosses val="autoZero"/>
        <c:auto val="1"/>
        <c:lblAlgn val="ctr"/>
        <c:lblOffset val="100"/>
        <c:noMultiLvlLbl val="0"/>
      </c:catAx>
      <c:valAx>
        <c:axId val="90829184"/>
        <c:scaling>
          <c:orientation val="minMax"/>
          <c:max val="1"/>
          <c:min val="0"/>
        </c:scaling>
        <c:delete val="1"/>
        <c:axPos val="b"/>
        <c:numFmt formatCode="0%" sourceLinked="1"/>
        <c:majorTickMark val="none"/>
        <c:minorTickMark val="none"/>
        <c:tickLblPos val="nextTo"/>
        <c:crossAx val="90811008"/>
        <c:crosses val="max"/>
        <c:crossBetween val="between"/>
        <c:majorUnit val="0.1"/>
      </c:valAx>
    </c:plotArea>
    <c:legend>
      <c:legendPos val="b"/>
      <c:overlay val="0"/>
      <c:txPr>
        <a:bodyPr/>
        <a:lstStyle/>
        <a:p>
          <a:pPr>
            <a:defRPr sz="1000" b="0" i="0" u="none">
              <a:solidFill>
                <a:srgbClr val="0F283C"/>
              </a:solidFill>
              <a:latin typeface="Arial"/>
              <a:ea typeface="Arial"/>
              <a:cs typeface="Arial"/>
            </a:defRPr>
          </a:pPr>
          <a:endParaRPr lang="da-DK"/>
        </a:p>
      </c:txPr>
    </c:legend>
    <c:plotVisOnly val="1"/>
    <c:dispBlanksAs val="gap"/>
    <c:showDLblsOverMax val="0"/>
  </c:chart>
  <c:spPr>
    <a:solidFill>
      <a:srgbClr val="FFFFFF"/>
    </a:solidFill>
    <a:effectLst/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I meget høj grad</c:v>
                </c:pt>
                <c:pt idx="1">
                  <c:v>I høj grad</c:v>
                </c:pt>
                <c:pt idx="2">
                  <c:v>I nogen grad</c:v>
                </c:pt>
                <c:pt idx="3">
                  <c:v>I mindre grad</c:v>
                </c:pt>
                <c:pt idx="4">
                  <c:v>Slet ikke</c:v>
                </c:pt>
                <c:pt idx="5">
                  <c:v>Ved ikk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7</c:v>
                </c:pt>
                <c:pt idx="1">
                  <c:v>0.36</c:v>
                </c:pt>
                <c:pt idx="2">
                  <c:v>0.31</c:v>
                </c:pt>
                <c:pt idx="3">
                  <c:v>0.09</c:v>
                </c:pt>
                <c:pt idx="4">
                  <c:v>0.01</c:v>
                </c:pt>
                <c:pt idx="5">
                  <c:v>0.06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Helt enig</c:v>
                </c:pt>
                <c:pt idx="1">
                  <c:v>Enig</c:v>
                </c:pt>
                <c:pt idx="2">
                  <c:v>Hverken enig eller uenig</c:v>
                </c:pt>
                <c:pt idx="3">
                  <c:v>Uenig</c:v>
                </c:pt>
                <c:pt idx="4">
                  <c:v>Helt uenig</c:v>
                </c:pt>
                <c:pt idx="5">
                  <c:v>Ved ikk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8000000000000003</c:v>
                </c:pt>
                <c:pt idx="1">
                  <c:v>0.39</c:v>
                </c:pt>
                <c:pt idx="2">
                  <c:v>0.2</c:v>
                </c:pt>
                <c:pt idx="3">
                  <c:v>0.04</c:v>
                </c:pt>
                <c:pt idx="4">
                  <c:v>0.02</c:v>
                </c:pt>
                <c:pt idx="5">
                  <c:v>7.0000000000000007E-2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5CC-42BA-A727-3149A0F33F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</c:f>
              <c:strCache>
                <c:ptCount val="3"/>
                <c:pt idx="0">
                  <c:v>Mand</c:v>
                </c:pt>
                <c:pt idx="1">
                  <c:v>Kvinde</c:v>
                </c:pt>
                <c:pt idx="2">
                  <c:v>Ande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2</c:v>
                </c:pt>
                <c:pt idx="1">
                  <c:v>0.47</c:v>
                </c:pt>
                <c:pt idx="2">
                  <c:v>0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7321743512219701E-2"/>
          <c:y val="2.4771370732089092E-2"/>
          <c:w val="0.96535651297556058"/>
          <c:h val="0.8481563736663748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centandel</c:v>
                </c:pt>
              </c:strCache>
            </c:strRef>
          </c:tx>
          <c:spPr>
            <a:solidFill>
              <a:srgbClr val="0F283C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 i="0" u="none">
                    <a:solidFill>
                      <a:srgbClr val="0F283C"/>
                    </a:solidFill>
                    <a:latin typeface="Arial"/>
                    <a:ea typeface="Arial"/>
                    <a:cs typeface="Arial"/>
                  </a:defRPr>
                </a:pPr>
                <a:endParaRPr lang="da-D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18-34 år</c:v>
                </c:pt>
                <c:pt idx="1">
                  <c:v>35-54 år</c:v>
                </c:pt>
                <c:pt idx="2">
                  <c:v>55+ å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</c:v>
                </c:pt>
                <c:pt idx="1">
                  <c:v>0.42</c:v>
                </c:pt>
                <c:pt idx="2">
                  <c:v>0.25</c:v>
                </c:pt>
              </c:numCache>
            </c:numRef>
          </c:val>
          <c:extLst xmlns:mc="http://schemas.openxmlformats.org/markup-compatibility/2006" xmlns:c14="http://schemas.microsoft.com/office/drawing/2007/8/2/chart" xmlns:c15="http://schemas.microsoft.com/office/drawing/2012/chart" xmlns:c16="http://schemas.microsoft.com/office/drawing/2014/chart">
            <c:ext xmlns:c16="http://schemas.microsoft.com/office/drawing/2014/chart" uri="{C3380CC4-5D6E-409C-BE32-E72D297353CC}">
              <c16:uniqueId val="{00000000-90DC-453B-8B18-03476CE0F98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30"/>
        <c:axId val="49179648"/>
        <c:axId val="49185536"/>
      </c:barChart>
      <c:catAx>
        <c:axId val="491796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000" b="0" i="0" u="none">
                <a:solidFill>
                  <a:srgbClr val="0F283C"/>
                </a:solidFill>
                <a:latin typeface="Arial"/>
                <a:ea typeface="Arial"/>
                <a:cs typeface="Arial"/>
              </a:defRPr>
            </a:pPr>
            <a:endParaRPr lang="da-DK"/>
          </a:p>
        </c:txPr>
        <c:crossAx val="49185536"/>
        <c:crosses val="autoZero"/>
        <c:auto val="1"/>
        <c:lblAlgn val="ctr"/>
        <c:lblOffset val="100"/>
        <c:noMultiLvlLbl val="0"/>
      </c:catAx>
      <c:valAx>
        <c:axId val="49185536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9179648"/>
        <c:crosses val="autoZero"/>
        <c:crossBetween val="between"/>
        <c:majorUnit val="0.1"/>
      </c:valAx>
    </c:plotArea>
    <c:plotVisOnly val="1"/>
    <c:dispBlanksAs val="gap"/>
    <c:showDLblsOverMax val="0"/>
  </c:chart>
  <c:spPr>
    <a:solidFill>
      <a:srgbClr val="FFFFFF"/>
    </a:solidFill>
  </c:spPr>
  <c:txPr>
    <a:bodyPr/>
    <a:lstStyle/>
    <a:p>
      <a:pPr>
        <a:defRPr sz="700"/>
      </a:pPr>
      <a:endParaRPr lang="da-DK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7033918-B5A7-4020-81E5-B4C55EA439E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AA74D7-7DED-429A-ADE6-A561A458D3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70452E-462F-400B-A282-5C41EC7D3501}" type="datetimeFigureOut">
              <a:rPr lang="en-GB" smtClean="0">
                <a:latin typeface="Arial" panose="020B0604020202020204" pitchFamily="34" charset="0"/>
              </a:rPr>
              <a:t>10/06/2024</a:t>
            </a:fld>
            <a:endParaRPr lang="en-GB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0C3921-CFAD-4D2A-B645-8AE4D74B806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B35D2-521A-4D91-8918-100965C64ED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676C12-CF06-46EB-B7B1-3AA4CEA859E7}" type="slidenum">
              <a:rPr lang="en-GB" smtClean="0">
                <a:latin typeface="Arial" panose="020B0604020202020204" pitchFamily="34" charset="0"/>
              </a:rPr>
              <a:t>‹nr.›</a:t>
            </a:fld>
            <a:endParaRPr lang="en-GB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76009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DA2C52-8F66-4064-A11F-04B3EC4200CF}" type="datetimeFigureOut">
              <a:rPr lang="en-IN" smtClean="0">
                <a:latin typeface="Arial" panose="020B0604020202020204" pitchFamily="34" charset="0"/>
              </a:rPr>
              <a:t>10-06-2024</a:t>
            </a:fld>
            <a:endParaRPr lang="en-IN">
              <a:latin typeface="Arial" panose="020B0604020202020204" pitchFamily="34" charset="0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>
              <a:latin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C79154-767E-4FA0-9228-6FDBEECC10CE}" type="slidenum">
              <a:rPr lang="en-IN" smtClean="0">
                <a:latin typeface="Arial" panose="020B0604020202020204" pitchFamily="34" charset="0"/>
              </a:rPr>
              <a:t>‹nr.›</a:t>
            </a:fld>
            <a:endParaRPr lang="en-IN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374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BE749643-82BB-4750-B84B-7DF9D64238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67AD3263-B386-4CF4-8B26-56DFAFB36F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239009CB-605A-45CC-85D2-378431FF05B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ABE5316-8C6F-4C72-8D63-6C8E4879C6E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13717" y="0"/>
            <a:ext cx="7690983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2224FEC-C587-406E-B81B-F350B0F026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211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3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A6296DE5-DAF1-4B80-B326-C8BCAC25F45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1307041"/>
            <a:ext cx="7200000" cy="154800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5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73E5EEF-A2A0-4612-BB7A-D302EAE434B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4813" y="3025775"/>
            <a:ext cx="4679950" cy="719138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FontTx/>
              <a:buNone/>
              <a:defRPr sz="1400"/>
            </a:lvl2pPr>
            <a:lvl3pPr marL="914400" indent="0">
              <a:buFontTx/>
              <a:buNone/>
              <a:defRPr sz="1400"/>
            </a:lvl3pPr>
            <a:lvl4pPr marL="1371600" indent="0">
              <a:buFontTx/>
              <a:buNone/>
              <a:defRPr sz="1400"/>
            </a:lvl4pPr>
            <a:lvl5pPr marL="1828800" indent="0">
              <a:buFontTx/>
              <a:buNone/>
              <a:defRPr sz="1400"/>
            </a:lvl5pPr>
          </a:lstStyle>
          <a:p>
            <a:pPr lvl="0"/>
            <a:r>
              <a:rPr lang="en-US"/>
              <a:t>Optional - Summarize the coming section here in a short paragraph to give the audiences a sneak preview of the contents</a:t>
            </a:r>
          </a:p>
        </p:txBody>
      </p:sp>
    </p:spTree>
    <p:extLst>
      <p:ext uri="{BB962C8B-B14F-4D97-AF65-F5344CB8AC3E}">
        <p14:creationId xmlns:p14="http://schemas.microsoft.com/office/powerpoint/2010/main" val="3634242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014618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1137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A03F2B1F-6935-4149-AB6B-39F762F6B60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1137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2" name="Base Number">
            <a:extLst>
              <a:ext uri="{FF2B5EF4-FFF2-40B4-BE49-F238E27FC236}">
                <a16:creationId xmlns:a16="http://schemas.microsoft.com/office/drawing/2014/main" id="{F02EBC59-7B5C-4152-A580-F9A83A8394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</p:spTree>
    <p:extLst>
      <p:ext uri="{BB962C8B-B14F-4D97-AF65-F5344CB8AC3E}">
        <p14:creationId xmlns:p14="http://schemas.microsoft.com/office/powerpoint/2010/main" val="1622349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543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 Number 1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 1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543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44A5161D-17FB-45A0-A59D-BF29EA83EC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347762" y="1463675"/>
            <a:ext cx="5436000" cy="468000"/>
          </a:xfrm>
        </p:spPr>
        <p:txBody>
          <a:bodyPr lIns="0" tIns="0" rIns="0" bIns="72000" anchor="b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0" name="Base Number 2">
            <a:extLst>
              <a:ext uri="{FF2B5EF4-FFF2-40B4-BE49-F238E27FC236}">
                <a16:creationId xmlns:a16="http://schemas.microsoft.com/office/drawing/2014/main" id="{E9F38153-B6F9-44EB-A343-603C3D60A5E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47762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1" name="Unit 2">
            <a:extLst>
              <a:ext uri="{FF2B5EF4-FFF2-40B4-BE49-F238E27FC236}">
                <a16:creationId xmlns:a16="http://schemas.microsoft.com/office/drawing/2014/main" id="{C4E9277D-B925-4CBD-8F1D-4E01EB9A9C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04002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C027015-6338-4D55-998D-C581E339434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47749" y="2371440"/>
            <a:ext cx="543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543291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 Number 1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 1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345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44A5161D-17FB-45A0-A59D-BF29EA83EC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68000" y="1463675"/>
            <a:ext cx="3456000" cy="468000"/>
          </a:xfrm>
        </p:spPr>
        <p:txBody>
          <a:bodyPr lIns="0" tIns="0" rIns="0" bIns="72000" anchor="b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0" name="Base Number 2">
            <a:extLst>
              <a:ext uri="{FF2B5EF4-FFF2-40B4-BE49-F238E27FC236}">
                <a16:creationId xmlns:a16="http://schemas.microsoft.com/office/drawing/2014/main" id="{E9F38153-B6F9-44EB-A343-603C3D60A5E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68000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1" name="Unit">
            <a:extLst>
              <a:ext uri="{FF2B5EF4-FFF2-40B4-BE49-F238E27FC236}">
                <a16:creationId xmlns:a16="http://schemas.microsoft.com/office/drawing/2014/main" id="{C4E9277D-B925-4CBD-8F1D-4E01EB9A9C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24240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C027015-6338-4D55-998D-C581E339434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4367987" y="2371440"/>
            <a:ext cx="345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6" name="Caption">
            <a:extLst>
              <a:ext uri="{FF2B5EF4-FFF2-40B4-BE49-F238E27FC236}">
                <a16:creationId xmlns:a16="http://schemas.microsoft.com/office/drawing/2014/main" id="{52B5E565-E6BF-4552-8E3F-0637A546F1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27987" y="1463675"/>
            <a:ext cx="345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aption – 14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</a:p>
        </p:txBody>
      </p:sp>
      <p:sp>
        <p:nvSpPr>
          <p:cNvPr id="24" name="Base Number 3">
            <a:extLst>
              <a:ext uri="{FF2B5EF4-FFF2-40B4-BE49-F238E27FC236}">
                <a16:creationId xmlns:a16="http://schemas.microsoft.com/office/drawing/2014/main" id="{6A2E9C06-F9B2-4C5C-BEE4-21BDD73FB5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2801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5" name="Unit">
            <a:extLst>
              <a:ext uri="{FF2B5EF4-FFF2-40B4-BE49-F238E27FC236}">
                <a16:creationId xmlns:a16="http://schemas.microsoft.com/office/drawing/2014/main" id="{8D633585-772A-44BD-854B-F434102E87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425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6405DB1-4916-4795-A1C4-F8CA521FB00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327987" y="2371440"/>
            <a:ext cx="345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575733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4 Content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246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12" name="Caption">
            <a:extLst>
              <a:ext uri="{FF2B5EF4-FFF2-40B4-BE49-F238E27FC236}">
                <a16:creationId xmlns:a16="http://schemas.microsoft.com/office/drawing/2014/main" id="{44A5161D-17FB-45A0-A59D-BF29EA83EC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77996" y="1463675"/>
            <a:ext cx="2466000" cy="468000"/>
          </a:xfrm>
        </p:spPr>
        <p:txBody>
          <a:bodyPr lIns="0" tIns="0" rIns="0" bIns="72000" anchor="b">
            <a:no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0" name="Base">
            <a:extLst>
              <a:ext uri="{FF2B5EF4-FFF2-40B4-BE49-F238E27FC236}">
                <a16:creationId xmlns:a16="http://schemas.microsoft.com/office/drawing/2014/main" id="{E9F38153-B6F9-44EB-A343-603C3D60A5E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7996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21" name="Unit">
            <a:extLst>
              <a:ext uri="{FF2B5EF4-FFF2-40B4-BE49-F238E27FC236}">
                <a16:creationId xmlns:a16="http://schemas.microsoft.com/office/drawing/2014/main" id="{C4E9277D-B925-4CBD-8F1D-4E01EB9A9C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34236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5" name="Content Placeholder">
            <a:extLst>
              <a:ext uri="{FF2B5EF4-FFF2-40B4-BE49-F238E27FC236}">
                <a16:creationId xmlns:a16="http://schemas.microsoft.com/office/drawing/2014/main" id="{7C027015-6338-4D55-998D-C581E339434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77996" y="2371440"/>
            <a:ext cx="246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6" name="Caption">
            <a:extLst>
              <a:ext uri="{FF2B5EF4-FFF2-40B4-BE49-F238E27FC236}">
                <a16:creationId xmlns:a16="http://schemas.microsoft.com/office/drawing/2014/main" id="{52B5E565-E6BF-4552-8E3F-0637A546F1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348005" y="1463675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4" name="Base">
            <a:extLst>
              <a:ext uri="{FF2B5EF4-FFF2-40B4-BE49-F238E27FC236}">
                <a16:creationId xmlns:a16="http://schemas.microsoft.com/office/drawing/2014/main" id="{6A2E9C06-F9B2-4C5C-BEE4-21BDD73FB5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8005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Base</a:t>
            </a:r>
          </a:p>
        </p:txBody>
      </p:sp>
      <p:sp>
        <p:nvSpPr>
          <p:cNvPr id="25" name="Unit">
            <a:extLst>
              <a:ext uri="{FF2B5EF4-FFF2-40B4-BE49-F238E27FC236}">
                <a16:creationId xmlns:a16="http://schemas.microsoft.com/office/drawing/2014/main" id="{8D633585-772A-44BD-854B-F434102E871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04245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6405DB1-4916-4795-A1C4-F8CA521FB00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348005" y="2371440"/>
            <a:ext cx="246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2" name="Caption">
            <a:extLst>
              <a:ext uri="{FF2B5EF4-FFF2-40B4-BE49-F238E27FC236}">
                <a16:creationId xmlns:a16="http://schemas.microsoft.com/office/drawing/2014/main" id="{9D819E38-CC89-450F-A4FC-0D4C76CE01D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318013" y="1463675"/>
            <a:ext cx="246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None/>
              <a:defRPr sz="1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aption 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28" name="Content Placeholder">
            <a:extLst>
              <a:ext uri="{FF2B5EF4-FFF2-40B4-BE49-F238E27FC236}">
                <a16:creationId xmlns:a16="http://schemas.microsoft.com/office/drawing/2014/main" id="{CA183741-10FA-4564-BDB0-92973429494E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9318013" y="2371440"/>
            <a:ext cx="2466000" cy="37944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29" name="Base">
            <a:extLst>
              <a:ext uri="{FF2B5EF4-FFF2-40B4-BE49-F238E27FC236}">
                <a16:creationId xmlns:a16="http://schemas.microsoft.com/office/drawing/2014/main" id="{A27D3EB7-3148-430F-84A8-56DF38ABE56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31801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30" name="Unit">
            <a:extLst>
              <a:ext uri="{FF2B5EF4-FFF2-40B4-BE49-F238E27FC236}">
                <a16:creationId xmlns:a16="http://schemas.microsoft.com/office/drawing/2014/main" id="{60883A15-1179-48B6-94C5-6FDDB24A840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074253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</p:spTree>
    <p:extLst>
      <p:ext uri="{BB962C8B-B14F-4D97-AF65-F5344CB8AC3E}">
        <p14:creationId xmlns:p14="http://schemas.microsoft.com/office/powerpoint/2010/main" val="3428481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laceholder &amp; su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7416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 – 14pt – Arial – Bold – Dark Blue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7416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16405DB1-4916-4795-A1C4-F8CA521FB00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8327987" y="1463674"/>
            <a:ext cx="3456000" cy="4702166"/>
          </a:xfrm>
          <a:solidFill>
            <a:schemeClr val="accent2"/>
          </a:solidFill>
        </p:spPr>
        <p:txBody>
          <a:bodyPr lIns="144000" tIns="144000" rIns="144000" bIns="144000">
            <a:noAutofit/>
          </a:bodyPr>
          <a:lstStyle>
            <a:lvl1pPr marL="0" indent="0">
              <a:spcAft>
                <a:spcPts val="600"/>
              </a:spcAft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345263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 Placeholder &amp; su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/>
              <a:t>Topic headline – Arial – 14pt – Epinion Red</a:t>
            </a:r>
          </a:p>
        </p:txBody>
      </p:sp>
      <p:sp>
        <p:nvSpPr>
          <p:cNvPr id="2" name="Sub Title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481816"/>
            <a:ext cx="11376025" cy="643599"/>
          </a:xfrm>
        </p:spPr>
        <p:txBody>
          <a:bodyPr/>
          <a:lstStyle>
            <a:lvl1pPr>
              <a:defRPr sz="2200"/>
            </a:lvl1pPr>
          </a:lstStyle>
          <a:p>
            <a:r>
              <a:rPr lang="en-US" dirty="0"/>
              <a:t>Action title – 22pt – Arial – Bold – Dark Blue</a:t>
            </a:r>
            <a:br>
              <a:rPr lang="en-US" dirty="0"/>
            </a:br>
            <a:r>
              <a:rPr lang="en-US" dirty="0"/>
              <a:t>Maximum two lines</a:t>
            </a:r>
            <a:endParaRPr lang="en-IN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Caption">
            <a:extLst>
              <a:ext uri="{FF2B5EF4-FFF2-40B4-BE49-F238E27FC236}">
                <a16:creationId xmlns:a16="http://schemas.microsoft.com/office/drawing/2014/main" id="{B648FAD8-098B-491D-ACB7-2363F92830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7987" y="1463675"/>
            <a:ext cx="8424000" cy="468000"/>
          </a:xfrm>
        </p:spPr>
        <p:txBody>
          <a:bodyPr lIns="0" tIns="0" rIns="0" bIns="720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aption</a:t>
            </a:r>
            <a:br>
              <a:rPr lang="en-US"/>
            </a:br>
            <a:r>
              <a:rPr lang="en-US"/>
              <a:t>Maximum two lines</a:t>
            </a:r>
          </a:p>
        </p:txBody>
      </p:sp>
      <p:sp>
        <p:nvSpPr>
          <p:cNvPr id="16" name="Base">
            <a:extLst>
              <a:ext uri="{FF2B5EF4-FFF2-40B4-BE49-F238E27FC236}">
                <a16:creationId xmlns:a16="http://schemas.microsoft.com/office/drawing/2014/main" id="{AA8B3B65-AB4C-479F-A6F5-210DBDF0172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ase</a:t>
            </a:r>
          </a:p>
        </p:txBody>
      </p:sp>
      <p:sp>
        <p:nvSpPr>
          <p:cNvPr id="17" name="Unit">
            <a:extLst>
              <a:ext uri="{FF2B5EF4-FFF2-40B4-BE49-F238E27FC236}">
                <a16:creationId xmlns:a16="http://schemas.microsoft.com/office/drawing/2014/main" id="{1DDF0708-651A-4560-B800-CA1243EDDC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64227" y="2005556"/>
            <a:ext cx="720000" cy="144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nit</a:t>
            </a:r>
          </a:p>
        </p:txBody>
      </p:sp>
      <p:sp>
        <p:nvSpPr>
          <p:cNvPr id="19" name="Content Placeholder">
            <a:extLst>
              <a:ext uri="{FF2B5EF4-FFF2-40B4-BE49-F238E27FC236}">
                <a16:creationId xmlns:a16="http://schemas.microsoft.com/office/drawing/2014/main" id="{04277EA4-F1AD-48F1-95E4-ECA54F8D5B0D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07987" y="2370137"/>
            <a:ext cx="8424000" cy="3795703"/>
          </a:xfrm>
        </p:spPr>
        <p:txBody>
          <a:bodyPr lIns="0" tIns="0" rIns="0" bIns="0">
            <a:noAutofit/>
          </a:bodyPr>
          <a:lstStyle>
            <a:lvl1pPr marL="0" indent="0">
              <a:spcAft>
                <a:spcPts val="1000"/>
              </a:spcAft>
              <a:buFontTx/>
              <a:buNone/>
              <a:defRPr sz="11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ontent</a:t>
            </a:r>
          </a:p>
        </p:txBody>
      </p:sp>
      <p:sp>
        <p:nvSpPr>
          <p:cNvPr id="31" name="Content Placeholder">
            <a:extLst>
              <a:ext uri="{FF2B5EF4-FFF2-40B4-BE49-F238E27FC236}">
                <a16:creationId xmlns:a16="http://schemas.microsoft.com/office/drawing/2014/main" id="{B0145A31-CD23-462D-9D59-DAD762B1A435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9318012" y="1931674"/>
            <a:ext cx="2466000" cy="4234165"/>
          </a:xfrm>
          <a:solidFill>
            <a:schemeClr val="accent2"/>
          </a:solidFill>
        </p:spPr>
        <p:txBody>
          <a:bodyPr lIns="144000" tIns="144000" rIns="144000" bIns="144000">
            <a:noAutofit/>
          </a:bodyPr>
          <a:lstStyle>
            <a:lvl1pPr marL="0" indent="0">
              <a:spcAft>
                <a:spcPts val="600"/>
              </a:spcAft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ontent</a:t>
            </a:r>
          </a:p>
        </p:txBody>
      </p:sp>
    </p:spTree>
    <p:extLst>
      <p:ext uri="{BB962C8B-B14F-4D97-AF65-F5344CB8AC3E}">
        <p14:creationId xmlns:p14="http://schemas.microsoft.com/office/powerpoint/2010/main" val="1061674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066A117-9133-4BFD-85B8-5FA10495023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00500" y="0"/>
            <a:ext cx="8191500" cy="40767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73EBB05-C2B7-43DF-9D45-00491AD429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3497262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en-US" noProof="0" dirty="0"/>
              <a:t>Topic headline – Arial – 14pt – </a:t>
            </a:r>
            <a:r>
              <a:rPr lang="en-US" noProof="0" dirty="0" err="1"/>
              <a:t>Epinion</a:t>
            </a:r>
            <a:r>
              <a:rPr lang="en-US" noProof="0" dirty="0"/>
              <a:t> Red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AC71521-BF6D-4E18-8F4E-E2FB43D37B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896D570-576D-4DCE-B757-CAE101CA58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91D785A0-A6F2-46A8-92BF-85DC45FB67E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513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C2B44D48-6049-4DA8-B067-CA45A8C45F0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00500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F085F696-58F7-45D9-8D8A-F7B08E1C339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3487" y="4286250"/>
            <a:ext cx="3248025" cy="1924050"/>
          </a:xfrm>
        </p:spPr>
        <p:txBody>
          <a:bodyPr>
            <a:noAutofit/>
          </a:bodyPr>
          <a:lstStyle>
            <a:lvl1pPr marL="0" indent="0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Heading here</a:t>
            </a:r>
          </a:p>
          <a:p>
            <a:pPr lvl="0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685800"/>
            <a:ext cx="5746070" cy="2464584"/>
          </a:xfrm>
        </p:spPr>
        <p:txBody>
          <a:bodyPr anchor="t" anchorCtr="0"/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ction title – 22pt – Arial – Bold – Red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02292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3A07CD-B899-43FD-8A73-45BC4833D1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A209CA9-A888-464A-83BA-4DA79ABAF2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5D237AB7-C4CB-4A29-96EF-20265D8AB2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595719D-61DD-4315-A03C-9F73BCEC009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513717" y="-1"/>
            <a:ext cx="7690984" cy="685800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DAC5B31-49C3-4086-9056-A22D275B31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550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5BAC372-1038-4D07-A21D-99F145F6BF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4BD220D-E768-4014-9C74-321A771112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37" name="Text Placeholder 12">
            <a:extLst>
              <a:ext uri="{FF2B5EF4-FFF2-40B4-BE49-F238E27FC236}">
                <a16:creationId xmlns:a16="http://schemas.microsoft.com/office/drawing/2014/main" id="{84321315-6753-47D0-AFE8-B567674650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96E42A4-2CAC-4E07-9E82-557F639A1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13718" y="-1"/>
            <a:ext cx="7705498" cy="6858001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IN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ADF78AA-7C0E-435D-8761-6006484CC9B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230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rgbClr val="0F2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96E42A4-2CAC-4E07-9E82-557F639A1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13717" y="0"/>
            <a:ext cx="7705497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IN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5B40907C-99A9-4E4E-8E97-7C91A80C7F5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7024FD7-5401-4B9E-AD0D-6792E8E714C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B7B6519F-39BE-4196-902C-F1A568759B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7CEE7E9-6BD5-4514-9A7B-5E4F69DFFFC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9849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8E9020C-4358-4879-95EF-1866C78732DD}"/>
              </a:ext>
            </a:extLst>
          </p:cNvPr>
          <p:cNvSpPr/>
          <p:nvPr userDrawn="1"/>
        </p:nvSpPr>
        <p:spPr>
          <a:xfrm>
            <a:off x="0" y="0"/>
            <a:ext cx="4779963" cy="6858000"/>
          </a:xfrm>
          <a:prstGeom prst="rect">
            <a:avLst/>
          </a:prstGeom>
          <a:solidFill>
            <a:srgbClr val="233C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96E42A4-2CAC-4E07-9E82-557F639A1C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13717" y="0"/>
            <a:ext cx="7705497" cy="6858000"/>
          </a:xfrm>
          <a:blipFill>
            <a:blip r:embed="rId2"/>
            <a:stretch>
              <a:fillRect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  <a:endParaRPr lang="en-IN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4FB4EB0-4B7A-4598-AD34-B94776D5A3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99279" y="2565294"/>
            <a:ext cx="3946298" cy="914400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90000"/>
              </a:lnSpc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Title is written her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0CAED05-2E00-442A-BCE3-80CAC4F21F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99279" y="3590381"/>
            <a:ext cx="3946298" cy="276225"/>
          </a:xfrm>
        </p:spPr>
        <p:txBody>
          <a:bodyPr lIns="0" tIns="0" rIns="0" bIns="0" anchor="t">
            <a:norm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FDFEEA35-111E-409B-8444-2F4A5C8B59F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7988" y="5634446"/>
            <a:ext cx="3685041" cy="530362"/>
          </a:xfrm>
        </p:spPr>
        <p:txBody>
          <a:bodyPr lIns="0" tIns="0" rIns="0" bIns="0" anchor="t">
            <a:normAutofit/>
          </a:bodyPr>
          <a:lstStyle>
            <a:lvl1pPr marL="0" indent="0">
              <a:lnSpc>
                <a:spcPct val="150000"/>
              </a:lnSpc>
              <a:buNone/>
              <a:defRPr sz="105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Name</a:t>
            </a:r>
          </a:p>
          <a:p>
            <a:pPr lvl="0"/>
            <a:r>
              <a:rPr lang="en-US" dirty="0"/>
              <a:t>Dat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CE52FAF-F160-4EFD-AA91-A42D1BFB32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975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tent</a:t>
            </a:r>
            <a:endParaRPr lang="en-IN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2FBF95A-93A8-4B24-A015-04C069E366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E220BE52-2562-4CD0-8061-8A1E73BA96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4938" y="190861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BE8C29E-04DE-458C-87AB-AC9DE1825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14938" y="235170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24BBB942-D0E0-4BB4-BFA4-94432AC99B0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14938" y="279478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ECBB47F0-C5B9-47A9-A3BC-0BE363A791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14938" y="3237868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815891FE-7A3B-4B0B-82FD-8B5FB15134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14938" y="368095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DB720A88-6A60-4395-A92E-056E4FB73D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14938" y="412403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F8A6769-94A8-44E9-A193-1212B6D1F3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0EAE982-F615-4B62-8CF9-B7CC368B68C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14938" y="456712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0D838C54-0D2B-4532-8988-1BC763AB9D9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14938" y="501020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99A377E5-D9C0-44CD-962F-D97DB016BE2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14938" y="5453289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4E1B26F3-EEBC-4AF8-8D10-17FDF1968C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53113" y="146553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C1D24CEB-851D-44EF-A3A5-312121AD1A4A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53113" y="190861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A8615EDE-F1C4-4242-A3A2-F434AAFE9F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53113" y="235170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F3C68748-FE1A-4FBB-9E72-CA14445F98B0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53113" y="279478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0AAAB725-9791-47F2-9144-AAD3340C414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53113" y="3237868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5B1D2B40-3E79-4237-BF2D-B8B1DA79C0C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3113" y="368095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CE9A9FD3-95F1-46A8-8EFC-325C2814845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53113" y="412403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BDA99E9A-6D52-4BA2-B938-C878FA10E36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53113" y="456712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E340B304-370E-48F2-906B-121E0E3C402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53113" y="501020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B31AD09B-4E40-4401-A8DE-FB6DAF1741B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53113" y="5453289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19B816FC-6750-4121-AF9E-31DD46D5ED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491057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039995-8FDE-4644-A620-C912E22786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tent</a:t>
            </a:r>
            <a:endParaRPr lang="en-IN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0F8A6769-94A8-44E9-A193-1212B6D1F3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E2313D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32" name="Slide Number Placeholder 5">
            <a:extLst>
              <a:ext uri="{FF2B5EF4-FFF2-40B4-BE49-F238E27FC236}">
                <a16:creationId xmlns:a16="http://schemas.microsoft.com/office/drawing/2014/main" id="{19B816FC-6750-4121-AF9E-31DD46D5ED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866E01-1DF5-4041-99E6-124DB5A1FBD5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5214938" y="1465263"/>
            <a:ext cx="6569075" cy="4211637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6005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itle 1">
            <a:extLst>
              <a:ext uri="{FF2B5EF4-FFF2-40B4-BE49-F238E27FC236}">
                <a16:creationId xmlns:a16="http://schemas.microsoft.com/office/drawing/2014/main" id="{E5FD1BA2-E3AD-4C17-86E9-9F21B62530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720197"/>
          </a:xfrm>
        </p:spPr>
        <p:txBody>
          <a:bodyPr anchor="t"/>
          <a:lstStyle>
            <a:lvl1pPr algn="l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genda</a:t>
            </a:r>
            <a:endParaRPr lang="en-IN" dirty="0"/>
          </a:p>
        </p:txBody>
      </p:sp>
      <p:sp>
        <p:nvSpPr>
          <p:cNvPr id="66" name="Text Placeholder 6">
            <a:extLst>
              <a:ext uri="{FF2B5EF4-FFF2-40B4-BE49-F238E27FC236}">
                <a16:creationId xmlns:a16="http://schemas.microsoft.com/office/drawing/2014/main" id="{C5FB038E-029B-4168-9B31-ACB6E383D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238126"/>
            <a:ext cx="11376024" cy="25536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Click to edit Topic </a:t>
            </a:r>
            <a:endParaRPr lang="en-GB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05B00A-898B-4C4F-B45F-4C7AC50E88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0BC0BBA-267A-4704-9E1E-AD4033664A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14938" y="190861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868D2F4C-3FD2-435A-BF89-03FBBA3B2B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14938" y="235170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C7E2A5DF-6CC6-49EE-A806-28BFED67BB0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214938" y="279478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1B209216-D91D-4F27-A7D0-9F466A3047C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14938" y="3237868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AB1CB83E-6D1A-4C50-A189-549262D456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14938" y="3680952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8CCA61F-AD7C-4CE3-BE1F-A1890CF5CA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14938" y="4124036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0255A8FB-B34C-4F17-BE4D-43B361DF97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14938" y="4567120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55C943F3-A625-4ABE-82D8-51C14CB97D2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14938" y="5010204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11160DD5-7044-42C5-AE71-4B5E041BC04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214938" y="5453289"/>
            <a:ext cx="520699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0E10C3D-D994-4856-9F81-4D0CD0A605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853113" y="146553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A80A8171-8C81-489D-A726-597C4CD96D6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853113" y="190861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FF6CD507-D672-44E5-837B-153ED27F09E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853113" y="235170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CD7C5AA6-76F7-49EB-B7E9-2375EEDC2CD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853113" y="279478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9467F73C-7E92-4553-A2EE-F96B11F20A5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853113" y="3237868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C93495ED-5F67-4B90-AC48-DBD6033925A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853113" y="3680952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B2239926-CAE5-4E39-B569-508810D6A63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5853113" y="4124036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D279787E-FC3C-468A-9617-D3FADA9F9C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853113" y="4567120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7C196A9-F9E7-415E-BC0C-8A78AC70B08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853113" y="5010204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D9F509B1-EF9C-49B1-A7FB-B8452E4901D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53113" y="5453289"/>
            <a:ext cx="5930899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Lorem</a:t>
            </a:r>
            <a:r>
              <a:rPr lang="da-DK" dirty="0"/>
              <a:t> </a:t>
            </a:r>
            <a:r>
              <a:rPr lang="da-DK" dirty="0" err="1"/>
              <a:t>ipsum</a:t>
            </a:r>
            <a:r>
              <a:rPr lang="da-DK" dirty="0"/>
              <a:t> </a:t>
            </a:r>
            <a:r>
              <a:rPr lang="da-DK" dirty="0" err="1"/>
              <a:t>dolor</a:t>
            </a:r>
            <a:r>
              <a:rPr lang="da-DK" dirty="0"/>
              <a:t> sit </a:t>
            </a:r>
            <a:r>
              <a:rPr lang="da-DK" dirty="0" err="1"/>
              <a:t>amet</a:t>
            </a:r>
            <a:r>
              <a:rPr lang="da-DK" dirty="0"/>
              <a:t>.</a:t>
            </a:r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9F2715D8-BBCE-4247-8AF0-7B669391F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642576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oC 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B4D355A-1BBB-4A62-A7A0-134168E4F7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607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8" imgH="338" progId="TCLayout.ActiveDocument.1">
                  <p:embed/>
                </p:oleObj>
              </mc:Choice>
              <mc:Fallback>
                <p:oleObj name="think-cell Slide" r:id="rId3" imgW="338" imgH="33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B4D355A-1BBB-4A62-A7A0-134168E4F7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Title 1">
            <a:extLst>
              <a:ext uri="{FF2B5EF4-FFF2-40B4-BE49-F238E27FC236}">
                <a16:creationId xmlns:a16="http://schemas.microsoft.com/office/drawing/2014/main" id="{E5FD1BA2-E3AD-4C17-86E9-9F21B62530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7" y="1465532"/>
            <a:ext cx="4468813" cy="1550937"/>
          </a:xfrm>
        </p:spPr>
        <p:txBody>
          <a:bodyPr anchor="t"/>
          <a:lstStyle>
            <a:lvl1pPr algn="l">
              <a:defRPr sz="5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eeting</a:t>
            </a:r>
            <a:br>
              <a:rPr lang="en-US" dirty="0"/>
            </a:br>
            <a:r>
              <a:rPr lang="en-US" dirty="0"/>
              <a:t>Agenda</a:t>
            </a:r>
            <a:endParaRPr lang="en-IN" dirty="0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F305B00A-898B-4C4F-B45F-4C7AC50E889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938" y="146553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30E10C3D-D994-4856-9F81-4D0CD0A605E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40500" y="146553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A80A8171-8C81-489D-A726-597C4CD96D6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540500" y="175096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49" name="Slide Number Placeholder 5">
            <a:extLst>
              <a:ext uri="{FF2B5EF4-FFF2-40B4-BE49-F238E27FC236}">
                <a16:creationId xmlns:a16="http://schemas.microsoft.com/office/drawing/2014/main" id="{9F2715D8-BBCE-4247-8AF0-7B669391F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0013F67-C53A-4545-9061-E9408EE3C472}"/>
              </a:ext>
            </a:extLst>
          </p:cNvPr>
          <p:cNvSpPr/>
          <p:nvPr userDrawn="1"/>
        </p:nvSpPr>
        <p:spPr>
          <a:xfrm>
            <a:off x="10672763" y="6165850"/>
            <a:ext cx="1185862" cy="5445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DBB87BE-0799-44EE-8967-2229BC3EAA3E}"/>
              </a:ext>
            </a:extLst>
          </p:cNvPr>
          <p:cNvGrpSpPr/>
          <p:nvPr userDrawn="1"/>
        </p:nvGrpSpPr>
        <p:grpSpPr>
          <a:xfrm>
            <a:off x="10969479" y="6415983"/>
            <a:ext cx="814534" cy="257182"/>
            <a:chOff x="10969479" y="6415983"/>
            <a:chExt cx="814534" cy="25718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509630C9-2F59-4A9D-BDD1-A107EC02E516}"/>
                </a:ext>
              </a:extLst>
            </p:cNvPr>
            <p:cNvSpPr/>
            <p:nvPr userDrawn="1"/>
          </p:nvSpPr>
          <p:spPr>
            <a:xfrm>
              <a:off x="10969479" y="6415985"/>
              <a:ext cx="814533" cy="2571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B405A87D-8E15-44FD-A9FE-DBD128F9E63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969479" y="6415983"/>
              <a:ext cx="814534" cy="257180"/>
            </a:xfrm>
            <a:prstGeom prst="rect">
              <a:avLst/>
            </a:prstGeom>
          </p:spPr>
        </p:pic>
      </p:grp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043DF886-32CC-40D6-8503-40E6D78DA68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214938" y="212847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C08DE867-537D-4133-A024-20CC75166A5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540500" y="212847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29FB31ED-A1E4-49D2-80CA-58A62FA20C9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540500" y="241390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7F33D839-25A1-455B-95CD-2999AB40462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214938" y="278379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D7F6B28D-CB3B-4333-AA8A-3B90691F51C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40500" y="278379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85E10577-5D96-46A7-BB65-E32409621AE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40500" y="306922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08AD882C-8D12-4D56-AF2E-0F833B4F1A7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214938" y="34543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58" name="Text Placeholder 6">
            <a:extLst>
              <a:ext uri="{FF2B5EF4-FFF2-40B4-BE49-F238E27FC236}">
                <a16:creationId xmlns:a16="http://schemas.microsoft.com/office/drawing/2014/main" id="{D9ADFFB2-CDD2-493E-8B7E-F22E540C788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540500" y="34543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488CDAB5-7FC0-4500-A3AC-98C2D9043597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40500" y="37397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DA74EABD-2641-421E-819D-819677D11D66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214938" y="41401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1" name="Text Placeholder 6">
            <a:extLst>
              <a:ext uri="{FF2B5EF4-FFF2-40B4-BE49-F238E27FC236}">
                <a16:creationId xmlns:a16="http://schemas.microsoft.com/office/drawing/2014/main" id="{0EA8ABFE-F636-46DE-96C5-39F2EEA8CC0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540500" y="41401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A30BF897-6833-408D-B036-EDF752298237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540500" y="44255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1452A93-9ADD-4388-B07A-A356B7898F34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214938" y="48259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4" name="Text Placeholder 6">
            <a:extLst>
              <a:ext uri="{FF2B5EF4-FFF2-40B4-BE49-F238E27FC236}">
                <a16:creationId xmlns:a16="http://schemas.microsoft.com/office/drawing/2014/main" id="{1654D6B1-FB65-495A-BB5D-A1FE9F83E13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540500" y="48259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73E3723A-BDD6-4180-9DC7-B07EAB021A3E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540500" y="51113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C7E042BD-94E5-453C-B57C-4BA94CDB4127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214938" y="5511752"/>
            <a:ext cx="1217612" cy="223611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12:00 -13.00</a:t>
            </a:r>
            <a:endParaRPr lang="en-GB" dirty="0"/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FBED8272-9CE9-482E-9523-84207BDD523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540500" y="5511752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 err="1"/>
              <a:t>Topic</a:t>
            </a:r>
            <a:r>
              <a:rPr lang="da-DK" dirty="0"/>
              <a:t> </a:t>
            </a:r>
            <a:r>
              <a:rPr lang="da-DK" dirty="0" err="1"/>
              <a:t>number</a:t>
            </a:r>
            <a:r>
              <a:rPr lang="da-DK" dirty="0"/>
              <a:t> </a:t>
            </a:r>
            <a:r>
              <a:rPr lang="da-DK" dirty="0" err="1"/>
              <a:t>one</a:t>
            </a:r>
            <a:endParaRPr lang="da-DK" dirty="0"/>
          </a:p>
        </p:txBody>
      </p:sp>
      <p:sp>
        <p:nvSpPr>
          <p:cNvPr id="69" name="Text Placeholder 6">
            <a:extLst>
              <a:ext uri="{FF2B5EF4-FFF2-40B4-BE49-F238E27FC236}">
                <a16:creationId xmlns:a16="http://schemas.microsoft.com/office/drawing/2014/main" id="{95860DC7-CEAC-4CD2-ACBC-F0FB87F127E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540500" y="5797181"/>
            <a:ext cx="5243512" cy="223611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John </a:t>
            </a:r>
            <a:r>
              <a:rPr lang="da-DK" dirty="0" err="1"/>
              <a:t>Do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467770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A4D5322-7226-47BB-9609-9069BEED8F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99279"/>
            <a:ext cx="11376025" cy="7201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Title – Arial – Bold – Font size 22pt – Action title – Dark blue</a:t>
            </a:r>
            <a:br>
              <a:rPr lang="en-US" dirty="0"/>
            </a:br>
            <a:r>
              <a:rPr lang="en-US" dirty="0"/>
              <a:t>Max 2 lines</a:t>
            </a:r>
            <a:endParaRPr lang="en-IN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30C26D-03BF-4FE0-A7D8-559D50F696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451429"/>
            <a:ext cx="11376024" cy="47144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goes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2D2DE-F95A-4E6B-B75F-6BE05392D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45383" y="6209555"/>
            <a:ext cx="9517966" cy="4027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A5D339-D3A1-4359-9126-FB2024961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8034" y="6459415"/>
            <a:ext cx="487362" cy="15240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92103799-4748-4C4F-A17A-6CEDBDE457E7}" type="slidenum">
              <a:rPr lang="en-IN" smtClean="0"/>
              <a:pPr/>
              <a:t>‹nr.›</a:t>
            </a:fld>
            <a:endParaRPr lang="en-IN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88334DB-0460-44F9-9F9B-087CCADF9CE3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844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724" r:id="rId7"/>
    <p:sldLayoutId id="2147483686" r:id="rId8"/>
    <p:sldLayoutId id="2147483689" r:id="rId9"/>
    <p:sldLayoutId id="2147483725" r:id="rId10"/>
    <p:sldLayoutId id="2147483680" r:id="rId11"/>
    <p:sldLayoutId id="2147483718" r:id="rId12"/>
    <p:sldLayoutId id="2147483719" r:id="rId13"/>
    <p:sldLayoutId id="2147483720" r:id="rId14"/>
    <p:sldLayoutId id="2147483722" r:id="rId15"/>
    <p:sldLayoutId id="2147483721" r:id="rId16"/>
    <p:sldLayoutId id="2147483723" r:id="rId17"/>
    <p:sldLayoutId id="2147483711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4000" indent="-234000" algn="l" defTabSz="914400" rtl="0" eaLnBrk="1" latinLnBrk="0" hangingPunct="1">
        <a:lnSpc>
          <a:spcPct val="100000"/>
        </a:lnSpc>
        <a:spcBef>
          <a:spcPts val="0"/>
        </a:spcBef>
        <a:buClr>
          <a:srgbClr val="DF4445"/>
        </a:buClr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444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orient="horz" pos="914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  <p15:guide id="6" orient="horz" pos="41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PORT TITLE">
            <a:extLst>
              <a:ext uri="{FF2B5EF4-FFF2-40B4-BE49-F238E27FC236}">
                <a16:creationId xmlns:a16="http://schemas.microsoft.com/office/drawing/2014/main" id="{2109BBD2-F8C5-41C6-A535-64147E0E8E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t>Stressundersøgelse - HK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BEE634-B731-499F-9A92-9CE9D63F81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PORT DATE">
            <a:extLst>
              <a:ext uri="{FF2B5EF4-FFF2-40B4-BE49-F238E27FC236}">
                <a16:creationId xmlns:a16="http://schemas.microsoft.com/office/drawing/2014/main" id="{7365C7A3-A623-44D1-BDF8-E0ED914F76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8. maj 2024</a:t>
            </a:r>
            <a:endParaRPr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42A3C30-62F2-4A5C-B4A7-F9929DBB41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B4EFB31-0A4C-40E2-93F5-D23B5AD84F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69480" y="6411353"/>
            <a:ext cx="814533" cy="257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748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10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gender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gender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Køn</a:t>
            </a:r>
            <a:endParaRPr lang="en-US"/>
          </a:p>
        </p:txBody>
      </p:sp>
      <p:sp>
        <p:nvSpPr>
          <p:cNvPr id="12" name="Base NumberFreq-gender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1816474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11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alder_kat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alder_kat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Alder</a:t>
            </a:r>
            <a:endParaRPr lang="en-US"/>
          </a:p>
        </p:txBody>
      </p:sp>
      <p:sp>
        <p:nvSpPr>
          <p:cNvPr id="12" name="Base NumberFreq-alder_kat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649592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12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uddannelse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uddannelse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Uddannelse</a:t>
            </a:r>
            <a:endParaRPr lang="en-US"/>
          </a:p>
        </p:txBody>
      </p:sp>
      <p:sp>
        <p:nvSpPr>
          <p:cNvPr id="12" name="Base NumberFreq-uddannelse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01931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13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Beskaeftigelse--Col01P"/>
          <p:cNvGraphicFramePr/>
          <p:nvPr>
            <p:extLst>
              <p:ext uri="{D42A27DB-BD31-4B8C-83A1-F6EECF244321}">
                <p14:modId xmlns:p14="http://schemas.microsoft.com/office/powerpoint/2010/main" val="1842334020"/>
              </p:ext>
            </p:extLst>
          </p:nvPr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Beskaeftigelse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Beskæftigelse</a:t>
            </a:r>
            <a:endParaRPr lang="en-US"/>
          </a:p>
        </p:txBody>
      </p:sp>
      <p:sp>
        <p:nvSpPr>
          <p:cNvPr id="12" name="Base NumberFreq-Beskaeftigelse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0940673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14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sektor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sektor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Sektor</a:t>
            </a:r>
            <a:endParaRPr lang="en-US"/>
          </a:p>
        </p:txBody>
      </p:sp>
      <p:sp>
        <p:nvSpPr>
          <p:cNvPr id="12" name="Base NumberFreq-sektor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9044332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15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Region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Region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Region</a:t>
            </a:r>
            <a:endParaRPr lang="en-US"/>
          </a:p>
        </p:txBody>
      </p:sp>
      <p:sp>
        <p:nvSpPr>
          <p:cNvPr id="12" name="Base NumberFreq-Region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958585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5611269-964C-4962-8D37-1E27EFD3F98D}"/>
              </a:ext>
            </a:extLst>
          </p:cNvPr>
          <p:cNvSpPr txBox="1"/>
          <p:nvPr/>
        </p:nvSpPr>
        <p:spPr>
          <a:xfrm>
            <a:off x="407988" y="2837584"/>
            <a:ext cx="600392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00" b="1">
                <a:solidFill>
                  <a:schemeClr val="tx2"/>
                </a:solidFill>
              </a:rPr>
              <a:t>Epinion Copenhagen</a:t>
            </a:r>
          </a:p>
          <a:p>
            <a:pPr algn="l"/>
            <a:endParaRPr lang="en-US" sz="1200" b="1">
              <a:solidFill>
                <a:schemeClr val="tx2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A27BA4-6EEE-48DB-9118-B60819299600}"/>
              </a:ext>
            </a:extLst>
          </p:cNvPr>
          <p:cNvSpPr txBox="1"/>
          <p:nvPr/>
        </p:nvSpPr>
        <p:spPr>
          <a:xfrm>
            <a:off x="407988" y="3153247"/>
            <a:ext cx="6003925" cy="14560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err="1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yesgade</a:t>
            </a:r>
            <a:r>
              <a:rPr lang="de-DE" sz="1200" kern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3F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2200 Copenhagen N  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 err="1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nmark</a:t>
            </a:r>
            <a:endParaRPr lang="de-DE" sz="1200" kern="0">
              <a:solidFill>
                <a:schemeClr val="tx2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T: +45 87 30 95 00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E: copenhagen@epinionglobal.com</a:t>
            </a:r>
          </a:p>
          <a:p>
            <a:pPr marR="51431" lvl="0" defTabSz="822710">
              <a:lnSpc>
                <a:spcPct val="114000"/>
              </a:lnSpc>
              <a:defRPr/>
            </a:pPr>
            <a:r>
              <a:rPr lang="de-DE" sz="1200" kern="0">
                <a:solidFill>
                  <a:schemeClr val="tx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www.epinionglobal.com </a:t>
            </a:r>
          </a:p>
          <a:p>
            <a:pPr marR="51431" lvl="0" defTabSz="822710">
              <a:lnSpc>
                <a:spcPct val="114000"/>
              </a:lnSpc>
              <a:defRPr/>
            </a:pPr>
            <a:endParaRPr lang="de-DE" sz="1200" kern="0">
              <a:solidFill>
                <a:schemeClr val="tx2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33260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tion">
            <a:extLst>
              <a:ext uri="{FF2B5EF4-FFF2-40B4-BE49-F238E27FC236}">
                <a16:creationId xmlns:a16="http://schemas.microsoft.com/office/drawing/2014/main" id="{DF74A8D3-CEF6-4847-A6B8-AC31B7039A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t>Frekvenser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48DCE6-4F34-4AB4-86D0-EE828E9B616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252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3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Q1_1_resp--Bar04P;Freq-Q1_2_resp--Bar04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Q1_1_resp--Bar04P;Freq-Q1_2_resp--Bar04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Hvordan er... </a:t>
            </a:r>
            <a:endParaRPr lang="en-US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" name="Base NumberFreq-Q2--Col01P">
            <a:extLst>
              <a:ext uri="{FF2B5EF4-FFF2-40B4-BE49-F238E27FC236}">
                <a16:creationId xmlns:a16="http://schemas.microsoft.com/office/drawing/2014/main" id="{7FBB1AEC-00CE-1ED4-B0EF-A3EBCB96A3D1}"/>
              </a:ext>
            </a:extLst>
          </p:cNvPr>
          <p:cNvSpPr txBox="1">
            <a:spLocks/>
          </p:cNvSpPr>
          <p:nvPr/>
        </p:nvSpPr>
        <p:spPr>
          <a:xfrm>
            <a:off x="407987" y="2005556"/>
            <a:ext cx="5120640" cy="1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F4445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=1240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4108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4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Q2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Q2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I hvilken grad oplever du, at I på din arbejdsplads har en tilstrækkelig dialog med din leder om prioritering af opgaver?</a:t>
            </a:r>
            <a:endParaRPr lang="en-US"/>
          </a:p>
        </p:txBody>
      </p:sp>
      <p:sp>
        <p:nvSpPr>
          <p:cNvPr id="12" name="Base NumberFreq-Q2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56805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5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Q3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Q3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I hvilken grad synes du, at der på din arbejdsplads bliver gjort nok for at forebygge stress?</a:t>
            </a:r>
            <a:endParaRPr lang="en-US"/>
          </a:p>
        </p:txBody>
      </p:sp>
      <p:sp>
        <p:nvSpPr>
          <p:cNvPr id="12" name="Base NumberFreq-Q3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3055943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6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Q4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Q4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Er der nedskrevet en politik på din arbejdsplads i forhold til at håndtere stress (fx værktøjer, retningslinjer el.lign.)?</a:t>
            </a:r>
            <a:endParaRPr lang="en-US"/>
          </a:p>
        </p:txBody>
      </p:sp>
      <p:sp>
        <p:nvSpPr>
          <p:cNvPr id="12" name="Base NumberFreq-Q4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571949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7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Q5_1_resp--Bar04P;Freq-Q5_2_resp--Bar04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Q5_1_resp--Bar04P;Freq-Q5_2_resp--Bar04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Hvis en af dine kollegaer viser symptomer på stress, vil du så tage en snak med… </a:t>
            </a:r>
            <a:endParaRPr lang="en-US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" name="Base NumberFreq-Q2--Col01P">
            <a:extLst>
              <a:ext uri="{FF2B5EF4-FFF2-40B4-BE49-F238E27FC236}">
                <a16:creationId xmlns:a16="http://schemas.microsoft.com/office/drawing/2014/main" id="{31678ECF-29C9-6658-5F32-1227AE41926E}"/>
              </a:ext>
            </a:extLst>
          </p:cNvPr>
          <p:cNvSpPr txBox="1">
            <a:spLocks/>
          </p:cNvSpPr>
          <p:nvPr/>
        </p:nvSpPr>
        <p:spPr>
          <a:xfrm>
            <a:off x="407987" y="2005556"/>
            <a:ext cx="5120640" cy="14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DF4445"/>
              </a:buClr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4445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N=1240 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0235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8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Q6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Q6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I hvilken grad oplever du, at det er acceptabelt at snakke om stress og arbejdspres på din arbejdsplads?</a:t>
            </a:r>
            <a:endParaRPr lang="en-US"/>
          </a:p>
        </p:txBody>
      </p:sp>
      <p:sp>
        <p:nvSpPr>
          <p:cNvPr id="12" name="Base NumberFreq-Q6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37021412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AC807623-BC98-4505-B220-85A671997EC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t>Frekvenser</a:t>
            </a:r>
            <a:endParaRPr lang="en-US"/>
          </a:p>
        </p:txBody>
      </p:sp>
      <p:sp>
        <p:nvSpPr>
          <p:cNvPr id="6" name="Sub Title">
            <a:extLst>
              <a:ext uri="{FF2B5EF4-FFF2-40B4-BE49-F238E27FC236}">
                <a16:creationId xmlns:a16="http://schemas.microsoft.com/office/drawing/2014/main" id="{0B453D8D-0999-4C63-BDBC-C764579A1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58B40661-B43C-41AA-9776-6D4A75DF8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2103799-4748-4C4F-A17A-6CEDBDE457E7}" type="slidenum">
              <a:rPr lang="en-IN" smtClean="0"/>
              <a:pPr/>
              <a:t>9</a:t>
            </a:fld>
            <a:endParaRPr lang="en-IN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D98941CC-08CD-4E91-9201-F1383B7B7A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IN" dirty="0"/>
          </a:p>
        </p:txBody>
      </p:sp>
      <p:graphicFrame>
        <p:nvGraphicFramePr>
          <p:cNvPr id="2" name="Freq-Q15--Col01P"/>
          <p:cNvGraphicFramePr/>
          <p:nvPr/>
        </p:nvGraphicFramePr>
        <p:xfrm>
          <a:off x="407987" y="2173409"/>
          <a:ext cx="11376000" cy="4023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Chart TitleFreq-Q15--Col01P">
            <a:extLst>
              <a:ext uri="{FF2B5EF4-FFF2-40B4-BE49-F238E27FC236}">
                <a16:creationId xmlns:a16="http://schemas.microsoft.com/office/drawing/2014/main" id="{E0BCD112-3EB4-4CE1-A6C4-6E1CC9ADD3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07987" y="1463675"/>
            <a:ext cx="11376000" cy="468000"/>
          </a:xfrm>
        </p:spPr>
        <p:txBody>
          <a:bodyPr/>
          <a:lstStyle/>
          <a:p>
            <a:r>
              <a:t>Hvor enig eller uenig er du i følgende udsagn? Politikerne bør gøre mere for at forebygge stress, end de gør i dag.</a:t>
            </a:r>
            <a:endParaRPr lang="en-US"/>
          </a:p>
        </p:txBody>
      </p:sp>
      <p:sp>
        <p:nvSpPr>
          <p:cNvPr id="12" name="Base NumberFreq-Q15--Col01P">
            <a:extLst>
              <a:ext uri="{FF2B5EF4-FFF2-40B4-BE49-F238E27FC236}">
                <a16:creationId xmlns:a16="http://schemas.microsoft.com/office/drawing/2014/main" id="{0D6E462A-D98A-403D-A16C-3FC7AABA4E4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7" y="2005556"/>
            <a:ext cx="5120640" cy="144000"/>
          </a:xfrm>
        </p:spPr>
        <p:txBody>
          <a:bodyPr/>
          <a:lstStyle/>
          <a:p>
            <a:r>
              <a:t>N=1240    </a:t>
            </a:r>
            <a:endParaRPr lang="en-US" dirty="0"/>
          </a:p>
        </p:txBody>
      </p:sp>
      <p:cxnSp>
        <p:nvCxnSpPr>
          <p:cNvPr id="3" name="Straight Connector">
            <a:extLst>
              <a:ext uri="{FF2B5EF4-FFF2-40B4-BE49-F238E27FC236}">
                <a16:creationId xmlns:a16="http://schemas.microsoft.com/office/drawing/2014/main" id="{1C044AE4-1F1C-436B-93F6-77F6DD041BBD}"/>
              </a:ext>
            </a:extLst>
          </p:cNvPr>
          <p:cNvCxnSpPr>
            <a:cxnSpLocks/>
          </p:cNvCxnSpPr>
          <p:nvPr/>
        </p:nvCxnSpPr>
        <p:spPr>
          <a:xfrm>
            <a:off x="407987" y="1931675"/>
            <a:ext cx="11375136" cy="0"/>
          </a:xfrm>
          <a:prstGeom prst="line">
            <a:avLst/>
          </a:prstGeom>
          <a:noFill/>
          <a:ln w="12700" cap="flat" cmpd="sng">
            <a:solidFill>
              <a:schemeClr val="tx2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9528799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Custom 4">
      <a:dk1>
        <a:srgbClr val="0F283C"/>
      </a:dk1>
      <a:lt1>
        <a:sysClr val="window" lastClr="FFFFFF"/>
      </a:lt1>
      <a:dk2>
        <a:srgbClr val="E14646"/>
      </a:dk2>
      <a:lt2>
        <a:srgbClr val="0F283C"/>
      </a:lt2>
      <a:accent1>
        <a:srgbClr val="641E3C"/>
      </a:accent1>
      <a:accent2>
        <a:srgbClr val="F0ECE4"/>
      </a:accent2>
      <a:accent3>
        <a:srgbClr val="233CA0"/>
      </a:accent3>
      <a:accent4>
        <a:srgbClr val="E8E1D5"/>
      </a:accent4>
      <a:accent5>
        <a:srgbClr val="004337"/>
      </a:accent5>
      <a:accent6>
        <a:srgbClr val="C18022"/>
      </a:accent6>
      <a:hlink>
        <a:srgbClr val="73A89A"/>
      </a:hlink>
      <a:folHlink>
        <a:srgbClr val="EBC882"/>
      </a:folHlink>
    </a:clrScheme>
    <a:fontScheme name="Custom 2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 cap="flat" cmpd="sng">
          <a:solidFill>
            <a:schemeClr val="tx2"/>
          </a:solidFill>
          <a:prstDash val="solid"/>
          <a:miter lim="800000"/>
          <a:headEnd type="none" w="sm" len="sm"/>
          <a:tailEnd type="none" w="sm" len="sm"/>
        </a:ln>
      </a:spPr>
      <a:bodyPr/>
      <a:lstStyle/>
    </a:lnDef>
    <a:txDef>
      <a:spPr>
        <a:noFill/>
      </a:spPr>
      <a:bodyPr wrap="square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pinion Template v1.0.pptx" id="{3526E43E-ACE1-480A-A664-B02E9A4CBE9A}" vid="{EA814B3C-4366-48B2-8825-8A2A352B9B5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Flow_SignoffStatus xmlns="cb5ed2b5-7f6a-4aaf-8d10-e4f260b2c1be" xsi:nil="true"/>
    <Dato xmlns="cb5ed2b5-7f6a-4aaf-8d10-e4f260b2c1be" xsi:nil="true"/>
    <TaxCatchAll xmlns="f23402c3-379c-4653-ab73-42e4d017329f" xsi:nil="true"/>
    <_ip_UnifiedCompliancePolicyProperties xmlns="http://schemas.microsoft.com/sharepoint/v3" xsi:nil="true"/>
    <lcf76f155ced4ddcb4097134ff3c332f xmlns="cb5ed2b5-7f6a-4aaf-8d10-e4f260b2c1b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D093C74BCC045448B3150BFB0C2B2CE" ma:contentTypeVersion="26" ma:contentTypeDescription="Create a new document." ma:contentTypeScope="" ma:versionID="77886209e5de63b4ef87b5857335446b">
  <xsd:schema xmlns:xsd="http://www.w3.org/2001/XMLSchema" xmlns:xs="http://www.w3.org/2001/XMLSchema" xmlns:p="http://schemas.microsoft.com/office/2006/metadata/properties" xmlns:ns1="http://schemas.microsoft.com/sharepoint/v3" xmlns:ns2="cb5ed2b5-7f6a-4aaf-8d10-e4f260b2c1be" xmlns:ns3="f23402c3-379c-4653-ab73-42e4d017329f" targetNamespace="http://schemas.microsoft.com/office/2006/metadata/properties" ma:root="true" ma:fieldsID="d420ccf6dd435f2d4998141b00eb6833" ns1:_="" ns2:_="" ns3:_="">
    <xsd:import namespace="http://schemas.microsoft.com/sharepoint/v3"/>
    <xsd:import namespace="cb5ed2b5-7f6a-4aaf-8d10-e4f260b2c1be"/>
    <xsd:import namespace="f23402c3-379c-4653-ab73-42e4d017329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  <xsd:element ref="ns2:Dato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_Flow_SignoffStatus" minOccurs="0"/>
                <xsd:element ref="ns3:TaxCatchAll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5ed2b5-7f6a-4aaf-8d10-e4f260b2c1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Dato" ma:index="18" nillable="true" ma:displayName="Dato" ma:format="DateOnly" ma:internalName="Dato">
      <xsd:simpleType>
        <xsd:restriction base="dms:DateTime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3" nillable="true" ma:displayName="Length (seconds)" ma:internalName="MediaLengthInSeconds" ma:readOnly="true">
      <xsd:simpleType>
        <xsd:restriction base="dms:Unknown"/>
      </xsd:simpleType>
    </xsd:element>
    <xsd:element name="_Flow_SignoffStatus" ma:index="24" nillable="true" ma:displayName="Sign-off status" ma:internalName="Sign_x002d_off_x0020_status">
      <xsd:simpleType>
        <xsd:restriction base="dms:Text"/>
      </xsd:simpleType>
    </xsd:element>
    <xsd:element name="lcf76f155ced4ddcb4097134ff3c332f" ma:index="27" nillable="true" ma:taxonomy="true" ma:internalName="lcf76f155ced4ddcb4097134ff3c332f" ma:taxonomyFieldName="MediaServiceImageTags" ma:displayName="Image Tags" ma:readOnly="false" ma:fieldId="{5cf76f15-5ced-4ddc-b409-7134ff3c332f}" ma:taxonomyMulti="true" ma:sspId="27841eaf-21cb-4d22-9996-c50b7ffd161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8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3402c3-379c-4653-ab73-42e4d017329f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16d446bb-8385-4ffc-95e2-36e648861a7b}" ma:internalName="TaxCatchAll" ma:showField="CatchAllData" ma:web="f23402c3-379c-4653-ab73-42e4d017329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01A7954-803A-42AD-A5C2-36120802CB6D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0419f1cd-e9d1-4480-b2cb-429c0b7c1613"/>
    <ds:schemaRef ds:uri="http://www.w3.org/XML/1998/namespace"/>
    <ds:schemaRef ds:uri="http://schemas.openxmlformats.org/package/2006/metadata/core-properties"/>
    <ds:schemaRef ds:uri="1701e586-c14a-4fb7-b57e-ebe902239237"/>
    <ds:schemaRef ds:uri="http://purl.org/dc/dcmitype/"/>
    <ds:schemaRef ds:uri="http://purl.org/dc/terms/"/>
    <ds:schemaRef ds:uri="404435b9-b065-43a7-8f7f-43d651e9a825"/>
    <ds:schemaRef ds:uri="http://schemas.microsoft.com/sharepoint/v3"/>
    <ds:schemaRef ds:uri="cb5ed2b5-7f6a-4aaf-8d10-e4f260b2c1be"/>
    <ds:schemaRef ds:uri="f23402c3-379c-4653-ab73-42e4d017329f"/>
  </ds:schemaRefs>
</ds:datastoreItem>
</file>

<file path=customXml/itemProps2.xml><?xml version="1.0" encoding="utf-8"?>
<ds:datastoreItem xmlns:ds="http://schemas.openxmlformats.org/officeDocument/2006/customXml" ds:itemID="{266338A3-6E9C-41C7-93A8-F0FC41A466E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7E941A8-3CEB-49EE-8B38-3D58E32DD9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b5ed2b5-7f6a-4aaf-8d10-e4f260b2c1be"/>
    <ds:schemaRef ds:uri="f23402c3-379c-4653-ab73-42e4d01732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9</TotalTime>
  <Words>238</Words>
  <Application>Microsoft Office PowerPoint</Application>
  <PresentationFormat>Widescreen</PresentationFormat>
  <Paragraphs>62</Paragraphs>
  <Slides>16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20" baseType="lpstr">
      <vt:lpstr>Arial</vt:lpstr>
      <vt:lpstr>Wingdings</vt:lpstr>
      <vt:lpstr>Office-tema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Berit Didriksen</dc:creator>
  <cp:lastModifiedBy>Line Smed</cp:lastModifiedBy>
  <cp:revision>315</cp:revision>
  <dcterms:created xsi:type="dcterms:W3CDTF">2019-08-16T11:26:56Z</dcterms:created>
  <dcterms:modified xsi:type="dcterms:W3CDTF">2024-06-10T08:2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3933587</vt:lpwstr>
  </property>
  <property fmtid="{D5CDD505-2E9C-101B-9397-08002B2CF9AE}" pid="3" name="NXPowerLiteSettings">
    <vt:lpwstr>C700052003A000</vt:lpwstr>
  </property>
  <property fmtid="{D5CDD505-2E9C-101B-9397-08002B2CF9AE}" pid="4" name="NXPowerLiteVersion">
    <vt:lpwstr>D8.0.4</vt:lpwstr>
  </property>
  <property fmtid="{D5CDD505-2E9C-101B-9397-08002B2CF9AE}" pid="5" name="ContentTypeId">
    <vt:lpwstr>0x0101006DD3CCAE532A8840B563F9ED91E05FAC</vt:lpwstr>
  </property>
</Properties>
</file>